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notesSlides/notesSlide13.xml" ContentType="application/vnd.openxmlformats-officedocument.presentationml.notesSlide+xml"/>
  <Override PartName="/ppt/tags/tag73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notesSlides/notesSlide9.xml" ContentType="application/vnd.openxmlformats-officedocument.presentationml.notesSlide+xml"/>
  <Override PartName="/ppt/tags/tag72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21"/>
  </p:notesMasterIdLst>
  <p:handoutMasterIdLst>
    <p:handoutMasterId r:id="rId22"/>
  </p:handoutMasterIdLst>
  <p:sldIdLst>
    <p:sldId id="311" r:id="rId4"/>
    <p:sldId id="340" r:id="rId5"/>
    <p:sldId id="350" r:id="rId6"/>
    <p:sldId id="351" r:id="rId7"/>
    <p:sldId id="352" r:id="rId8"/>
    <p:sldId id="353" r:id="rId9"/>
    <p:sldId id="354" r:id="rId10"/>
    <p:sldId id="355" r:id="rId11"/>
    <p:sldId id="356" r:id="rId12"/>
    <p:sldId id="358" r:id="rId13"/>
    <p:sldId id="359" r:id="rId14"/>
    <p:sldId id="360" r:id="rId15"/>
    <p:sldId id="357" r:id="rId16"/>
    <p:sldId id="361" r:id="rId17"/>
    <p:sldId id="362" r:id="rId18"/>
    <p:sldId id="329" r:id="rId19"/>
    <p:sldId id="349" r:id="rId20"/>
  </p:sldIdLst>
  <p:sldSz cx="9906000" cy="6858000" type="A4"/>
  <p:notesSz cx="6896100" cy="10033000"/>
  <p:custDataLst>
    <p:tags r:id="rId23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02" autoAdjust="0"/>
    <p:restoredTop sz="93861" autoAdjust="0"/>
  </p:normalViewPr>
  <p:slideViewPr>
    <p:cSldViewPr>
      <p:cViewPr varScale="1">
        <p:scale>
          <a:sx n="83" d="100"/>
          <a:sy n="83" d="100"/>
        </p:scale>
        <p:origin x="-1464" y="-62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/27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2</a:t>
            </a:fld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3</a:t>
            </a:fld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4</a:t>
            </a:fld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5</a:t>
            </a:fld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6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Introduction-to-Scratch-pl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5.png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7.png"/><Relationship Id="rId2" Type="http://schemas.openxmlformats.org/officeDocument/2006/relationships/tags" Target="../tags/tag6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6.png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0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5.png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1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8.png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0.png"/><Relationship Id="rId2" Type="http://schemas.openxmlformats.org/officeDocument/2006/relationships/tags" Target="../tags/tag72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9.png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2.png"/><Relationship Id="rId2" Type="http://schemas.openxmlformats.org/officeDocument/2006/relationships/tags" Target="../tags/tag73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1.png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36.vml"/><Relationship Id="rId4" Type="http://schemas.openxmlformats.org/officeDocument/2006/relationships/oleObject" Target="../embeddings/oleObject36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5.png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png"/><Relationship Id="rId2" Type="http://schemas.openxmlformats.org/officeDocument/2006/relationships/tags" Target="../tags/tag6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png"/><Relationship Id="rId2" Type="http://schemas.openxmlformats.org/officeDocument/2006/relationships/tags" Target="../tags/tag6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8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3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8.pn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0.png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png"/><Relationship Id="rId2" Type="http://schemas.openxmlformats.org/officeDocument/2006/relationships/tags" Target="../tags/tag65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0.png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2.png"/><Relationship Id="rId2" Type="http://schemas.openxmlformats.org/officeDocument/2006/relationships/tags" Target="../tags/tag6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1.png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4.png"/><Relationship Id="rId2" Type="http://schemas.openxmlformats.org/officeDocument/2006/relationships/tags" Target="../tags/tag6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3.png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5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    </a:t>
            </a:r>
            <a:r>
              <a:rPr lang="en-US" sz="4400" dirty="0" smtClean="0">
                <a:effectLst/>
                <a:latin typeface="Comic Sans MS"/>
              </a:rPr>
              <a:t>.</a:t>
            </a:r>
            <a:endParaRPr lang="en-GB" dirty="0"/>
          </a:p>
        </p:txBody>
      </p:sp>
      <p:pic>
        <p:nvPicPr>
          <p:cNvPr id="6" name="Picture 6" descr="Warsztat 10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905410" y="4365130"/>
            <a:ext cx="1838325" cy="1828800"/>
          </a:xfrm>
          <a:prstGeom prst="rect">
            <a:avLst/>
          </a:prstGeom>
          <a:noFill/>
        </p:spPr>
      </p:pic>
      <p:pic>
        <p:nvPicPr>
          <p:cNvPr id="75779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712550" y="2060810"/>
            <a:ext cx="4076700" cy="1371600"/>
          </a:xfrm>
          <a:prstGeom prst="rect">
            <a:avLst/>
          </a:prstGeom>
          <a:noFill/>
        </p:spPr>
      </p:pic>
      <p:pic>
        <p:nvPicPr>
          <p:cNvPr id="75780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1588770" cy="1714500"/>
          </a:xfrm>
          <a:prstGeom prst="rect">
            <a:avLst/>
          </a:prstGeom>
          <a:noFill/>
        </p:spPr>
      </p:pic>
      <p:pic>
        <p:nvPicPr>
          <p:cNvPr id="7" name="Picture 2" descr="Warsztat 8+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995075" y="4365130"/>
            <a:ext cx="1838325" cy="18288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149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Stroje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200340" y="1628750"/>
            <a:ext cx="460864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Wygląd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szka</a:t>
            </a:r>
            <a:r>
              <a:rPr lang="pl-PL" sz="2400" dirty="0" smtClean="0">
                <a:latin typeface="Comic Sans MS"/>
              </a:rPr>
              <a:t> możemy zmienić zmieniając jego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trój</a:t>
            </a:r>
            <a:r>
              <a:rPr lang="pl-PL" sz="2400" dirty="0" smtClean="0">
                <a:latin typeface="Comic Sans MS"/>
              </a:rPr>
              <a:t> 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costume</a:t>
            </a:r>
            <a:r>
              <a:rPr lang="pl-PL" sz="2400" dirty="0" smtClean="0">
                <a:latin typeface="Comic Sans MS"/>
              </a:rPr>
              <a:t>).</a:t>
            </a:r>
            <a:endParaRPr lang="pl-PL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Każdy duszek może posiadać kilka </a:t>
            </a:r>
            <a:r>
              <a:rPr lang="pl-PL" sz="2400" dirty="0" smtClean="0">
                <a:latin typeface="Comic Sans MS"/>
              </a:rPr>
              <a:t>strojów.</a:t>
            </a:r>
            <a:endParaRPr lang="pl-PL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Aby podejrzeć stroje </a:t>
            </a:r>
            <a:r>
              <a:rPr lang="pl-PL" sz="2400" dirty="0" smtClean="0">
                <a:latin typeface="Comic Sans MS"/>
              </a:rPr>
              <a:t>duszka, wybieramy </a:t>
            </a:r>
            <a:r>
              <a:rPr lang="pl-PL" sz="2400" dirty="0" smtClean="0">
                <a:latin typeface="Comic Sans MS"/>
              </a:rPr>
              <a:t>zakładkę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Costumes</a:t>
            </a:r>
            <a:r>
              <a:rPr lang="pl-PL" sz="2400" dirty="0" smtClean="0">
                <a:latin typeface="Comic Sans MS"/>
              </a:rPr>
              <a:t>.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1491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880990" y="2132924"/>
            <a:ext cx="4824670" cy="41344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16"/>
          <p:cNvSpPr/>
          <p:nvPr/>
        </p:nvSpPr>
        <p:spPr>
          <a:xfrm>
            <a:off x="5177739" y="2095646"/>
            <a:ext cx="792110" cy="28804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251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Stroje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4880990" y="1484730"/>
            <a:ext cx="4608640" cy="252035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szek</a:t>
            </a:r>
            <a:r>
              <a:rPr lang="pl-PL" sz="2400" dirty="0" smtClean="0">
                <a:latin typeface="Comic Sans MS"/>
              </a:rPr>
              <a:t> może wyglądać jak człowiek, motyl, pociąg lub cokolwiek </a:t>
            </a:r>
            <a:r>
              <a:rPr lang="pl-PL" sz="2400" dirty="0" smtClean="0">
                <a:latin typeface="Comic Sans MS"/>
              </a:rPr>
              <a:t>innego.</a:t>
            </a:r>
            <a:endParaRPr lang="pl-PL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troje</a:t>
            </a:r>
            <a:r>
              <a:rPr lang="pl-PL" sz="2400" dirty="0" smtClean="0">
                <a:latin typeface="Comic Sans MS"/>
              </a:rPr>
              <a:t> możemy wybrać z palety, </a:t>
            </a:r>
            <a:r>
              <a:rPr lang="pl-PL" sz="2400" dirty="0" smtClean="0">
                <a:latin typeface="Comic Sans MS"/>
              </a:rPr>
              <a:t>z  </a:t>
            </a:r>
            <a:r>
              <a:rPr lang="pl-PL" sz="2400" dirty="0" smtClean="0">
                <a:latin typeface="Comic Sans MS"/>
              </a:rPr>
              <a:t>pliku lub zrobić zdjęcie </a:t>
            </a:r>
            <a:r>
              <a:rPr lang="pl-PL" sz="2400" dirty="0" smtClean="0">
                <a:latin typeface="Comic Sans MS"/>
              </a:rPr>
              <a:t>kamerą.</a:t>
            </a:r>
            <a:endParaRPr lang="pl-PL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76420" y="2852920"/>
            <a:ext cx="3467100" cy="19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2517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000590" y="4005080"/>
            <a:ext cx="7589042" cy="2167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4"/>
          <p:cNvSpPr/>
          <p:nvPr/>
        </p:nvSpPr>
        <p:spPr>
          <a:xfrm>
            <a:off x="848430" y="3356990"/>
            <a:ext cx="936130" cy="28804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353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Stroje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272350" y="1412720"/>
            <a:ext cx="4032560" cy="93613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Stroje można także </a:t>
            </a:r>
            <a:r>
              <a:rPr lang="pl-PL" sz="2400" dirty="0" smtClean="0">
                <a:latin typeface="Comic Sans MS"/>
              </a:rPr>
              <a:t>namalować.</a:t>
            </a:r>
            <a:endParaRPr lang="pl-PL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1491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728830" y="1196690"/>
            <a:ext cx="5832810" cy="4998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9"/>
          <p:cNvSpPr/>
          <p:nvPr/>
        </p:nvSpPr>
        <p:spPr>
          <a:xfrm>
            <a:off x="4736970" y="5085230"/>
            <a:ext cx="4752660" cy="115216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057570" y="1772770"/>
            <a:ext cx="504070" cy="216030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046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Paleta narzędzi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3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6840950" cy="18722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Przy pomocy palety możemy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zwiększać</a:t>
            </a:r>
            <a:r>
              <a:rPr lang="pl-PL" sz="2400" dirty="0" smtClean="0">
                <a:latin typeface="Comic Sans MS"/>
              </a:rPr>
              <a:t> lub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zmniejszać</a:t>
            </a:r>
            <a:r>
              <a:rPr lang="pl-PL" sz="2400" dirty="0" smtClean="0">
                <a:latin typeface="Comic Sans MS"/>
              </a:rPr>
              <a:t> rozmiar duszków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Można także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plikować</a:t>
            </a:r>
            <a:r>
              <a:rPr lang="pl-PL" sz="2400" dirty="0" smtClean="0">
                <a:latin typeface="Comic Sans MS"/>
              </a:rPr>
              <a:t> lub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usuwać</a:t>
            </a:r>
            <a:r>
              <a:rPr lang="pl-PL" sz="2400" dirty="0" smtClean="0">
                <a:latin typeface="Comic Sans MS"/>
              </a:rPr>
              <a:t>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szki</a:t>
            </a:r>
            <a:r>
              <a:rPr lang="pl-PL" sz="2400" dirty="0" smtClean="0">
                <a:latin typeface="Comic Sans MS"/>
              </a:rPr>
              <a:t>,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troje</a:t>
            </a:r>
            <a:r>
              <a:rPr lang="pl-PL" sz="2400" dirty="0" smtClean="0">
                <a:latin typeface="Comic Sans MS"/>
              </a:rPr>
              <a:t>,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źwięki</a:t>
            </a:r>
            <a:r>
              <a:rPr lang="pl-PL" sz="2400" dirty="0" smtClean="0">
                <a:latin typeface="Comic Sans MS"/>
              </a:rPr>
              <a:t> lub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krypty</a:t>
            </a:r>
            <a:r>
              <a:rPr lang="pl-PL" sz="2400" dirty="0" smtClean="0">
                <a:latin typeface="Comic Sans MS"/>
              </a:rPr>
              <a:t>.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0467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016870" y="3573020"/>
            <a:ext cx="4579205" cy="1728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2"/>
          <p:cNvSpPr/>
          <p:nvPr/>
        </p:nvSpPr>
        <p:spPr>
          <a:xfrm>
            <a:off x="4808980" y="3861060"/>
            <a:ext cx="1728240" cy="36005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456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Paleta bloków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4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128330" y="1700760"/>
            <a:ext cx="7417030" cy="223231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Programowanie w </a:t>
            </a:r>
            <a:r>
              <a:rPr lang="pl-PL" sz="2400" dirty="0" err="1" smtClean="0">
                <a:latin typeface="Comic Sans MS"/>
              </a:rPr>
              <a:t>Scratchu</a:t>
            </a:r>
            <a:r>
              <a:rPr lang="pl-PL" sz="2400" dirty="0" smtClean="0">
                <a:latin typeface="Comic Sans MS"/>
              </a:rPr>
              <a:t> polega na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układaniu sekwencji poleceń </a:t>
            </a:r>
            <a:r>
              <a:rPr lang="pl-PL" sz="2400" dirty="0" smtClean="0">
                <a:latin typeface="Comic Sans MS"/>
              </a:rPr>
              <a:t>z gotowych bloków dostępnych na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palecie bloków</a:t>
            </a:r>
            <a:r>
              <a:rPr lang="pl-PL" sz="2400" dirty="0" smtClean="0">
                <a:latin typeface="Comic Sans MS"/>
              </a:rPr>
              <a:t> 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blocks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palette</a:t>
            </a:r>
            <a:r>
              <a:rPr lang="pl-PL" sz="2400" dirty="0" smtClean="0">
                <a:latin typeface="Comic Sans MS"/>
              </a:rPr>
              <a:t>). 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Bloki układamy w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obszarze skryptowym </a:t>
            </a:r>
            <a:r>
              <a:rPr lang="pl-PL" sz="2400" dirty="0" smtClean="0">
                <a:latin typeface="Comic Sans MS"/>
              </a:rPr>
              <a:t>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cripts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area</a:t>
            </a:r>
            <a:r>
              <a:rPr lang="pl-PL" sz="2400" dirty="0" smtClean="0">
                <a:latin typeface="Comic Sans MS"/>
              </a:rPr>
              <a:t>)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szka</a:t>
            </a:r>
            <a:r>
              <a:rPr lang="pl-PL" sz="2400" dirty="0" smtClean="0">
                <a:latin typeface="Comic Sans MS"/>
              </a:rPr>
              <a:t> lub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tła</a:t>
            </a:r>
            <a:r>
              <a:rPr lang="pl-PL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4565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224760" y="4221110"/>
            <a:ext cx="5471080" cy="2016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563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545360" y="1916790"/>
            <a:ext cx="1870988" cy="396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558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Jak wystartować i zatrzymać program?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5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9001250" cy="129618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Zielona flaga </a:t>
            </a:r>
            <a:r>
              <a:rPr lang="pl-PL" sz="2400" dirty="0" smtClean="0">
                <a:latin typeface="Comic Sans MS"/>
              </a:rPr>
              <a:t>startuje wszystkie </a:t>
            </a:r>
            <a:r>
              <a:rPr lang="pl-PL" sz="2400" dirty="0" smtClean="0">
                <a:latin typeface="Comic Sans MS"/>
              </a:rPr>
              <a:t>skrypty </a:t>
            </a:r>
            <a:r>
              <a:rPr lang="pl-PL" sz="2400" dirty="0" smtClean="0">
                <a:latin typeface="Comic Sans MS"/>
              </a:rPr>
              <a:t>zaczynające się blokiem 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Czerwony znak stop </a:t>
            </a:r>
            <a:r>
              <a:rPr lang="pl-PL" sz="2400" dirty="0" smtClean="0">
                <a:latin typeface="Comic Sans MS"/>
              </a:rPr>
              <a:t>kończy działanie wszystkich skryptów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5587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928580" y="1844780"/>
            <a:ext cx="12382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589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16370" y="2852920"/>
            <a:ext cx="4176580" cy="2856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590" name="Picture 6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440790" y="3789050"/>
            <a:ext cx="3457575" cy="243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4"/>
          <p:cNvSpPr/>
          <p:nvPr/>
        </p:nvSpPr>
        <p:spPr>
          <a:xfrm>
            <a:off x="6105160" y="3717040"/>
            <a:ext cx="936130" cy="36005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Czym</a:t>
            </a:r>
            <a:r>
              <a:rPr lang="de-DE" dirty="0" smtClean="0"/>
              <a:t> </a:t>
            </a:r>
            <a:r>
              <a:rPr lang="de-DE" dirty="0" err="1" smtClean="0"/>
              <a:t>jest</a:t>
            </a:r>
            <a:r>
              <a:rPr lang="de-DE" dirty="0" smtClean="0"/>
              <a:t>                  </a:t>
            </a:r>
            <a:r>
              <a:rPr lang="pl-PL" dirty="0" smtClean="0"/>
              <a:t>?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pic>
        <p:nvPicPr>
          <p:cNvPr id="13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928580" y="188550"/>
            <a:ext cx="2038350" cy="685800"/>
          </a:xfrm>
          <a:prstGeom prst="rect">
            <a:avLst/>
          </a:prstGeom>
          <a:noFill/>
        </p:spPr>
      </p:pic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9145270" cy="1219199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cratch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jest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językiem programowania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ożemy użyć go do tworzenia własnych, interaktywnych historyjek, animacji, gier, muzyki oraz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ztuki.</a:t>
            </a: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5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44360" y="465317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817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Czego</a:t>
            </a:r>
            <a:r>
              <a:rPr lang="de-DE" dirty="0" smtClean="0"/>
              <a:t> </a:t>
            </a:r>
            <a:r>
              <a:rPr lang="de-DE" dirty="0" err="1" smtClean="0"/>
              <a:t>uczy</a:t>
            </a:r>
            <a:r>
              <a:rPr lang="de-DE" dirty="0" smtClean="0"/>
              <a:t> </a:t>
            </a:r>
            <a:r>
              <a:rPr lang="de-DE" dirty="0" err="1" smtClean="0"/>
              <a:t>nas</a:t>
            </a:r>
            <a:r>
              <a:rPr lang="de-DE" dirty="0" smtClean="0"/>
              <a:t>                  </a:t>
            </a:r>
            <a:r>
              <a:rPr lang="pl-PL" dirty="0" smtClean="0"/>
              <a:t>?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pic>
        <p:nvPicPr>
          <p:cNvPr id="13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770630" y="188550"/>
            <a:ext cx="2038350" cy="685800"/>
          </a:xfrm>
          <a:prstGeom prst="rect">
            <a:avLst/>
          </a:prstGeom>
          <a:noFill/>
        </p:spPr>
      </p:pic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9145270" cy="14402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latin typeface="Comic Sans MS"/>
              </a:rPr>
              <a:t>Uczy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latin typeface="Comic Sans MS"/>
              </a:rPr>
              <a:t>nas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latin typeface="Comic Sans MS"/>
              </a:rPr>
              <a:t>ważnych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50E"/>
                </a:solidFill>
                <a:latin typeface="Comic Sans MS"/>
              </a:rPr>
              <a:t>idei</a:t>
            </a:r>
            <a:r>
              <a:rPr lang="de-DE" sz="2400" dirty="0" smtClean="0">
                <a:solidFill>
                  <a:srgbClr val="FF950E"/>
                </a:solidFill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50E"/>
                </a:solidFill>
                <a:latin typeface="Comic Sans MS"/>
              </a:rPr>
              <a:t>programistycznych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latin typeface="Comic Sans MS"/>
              </a:rPr>
              <a:t>Uczy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latin typeface="Comic Sans MS"/>
              </a:rPr>
              <a:t>nas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myśleć</a:t>
            </a:r>
            <a:r>
              <a:rPr lang="de-DE" sz="2400" dirty="0" smtClean="0">
                <a:solidFill>
                  <a:srgbClr val="FF9900"/>
                </a:solidFill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kreatywnie</a:t>
            </a:r>
            <a:r>
              <a:rPr lang="de-DE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latin typeface="Comic Sans MS"/>
              </a:rPr>
              <a:t>Uczy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latin typeface="Comic Sans MS"/>
              </a:rPr>
              <a:t>nas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systematycznego</a:t>
            </a:r>
            <a:r>
              <a:rPr lang="de-DE" sz="2400" dirty="0" smtClean="0">
                <a:solidFill>
                  <a:srgbClr val="FF9900"/>
                </a:solidFill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rozumowania</a:t>
            </a:r>
            <a:r>
              <a:rPr lang="de-DE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5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597640" y="465317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920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Czym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 </a:t>
            </a:r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jest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 </a:t>
            </a:r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programowanie</a:t>
            </a:r>
            <a:r>
              <a:rPr lang="pl-PL" dirty="0" smtClean="0"/>
              <a:t>?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9145270" cy="266437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Programowanie</a:t>
            </a:r>
            <a:r>
              <a:rPr lang="pl-PL" sz="2400" dirty="0" smtClean="0">
                <a:latin typeface="Comic Sans MS"/>
              </a:rPr>
              <a:t> jest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ztuką</a:t>
            </a:r>
            <a:r>
              <a:rPr lang="pl-PL" sz="2400" dirty="0" smtClean="0">
                <a:latin typeface="Comic Sans MS"/>
              </a:rPr>
              <a:t> powiedzenia </a:t>
            </a:r>
            <a:r>
              <a:rPr lang="pl-PL" sz="2400" dirty="0" smtClean="0">
                <a:latin typeface="Comic Sans MS"/>
              </a:rPr>
              <a:t>komputerowi, </a:t>
            </a:r>
            <a:r>
              <a:rPr lang="pl-PL" sz="2400" dirty="0" smtClean="0">
                <a:latin typeface="Comic Sans MS"/>
              </a:rPr>
              <a:t>żeby zrobił </a:t>
            </a:r>
            <a:r>
              <a:rPr lang="pl-PL" sz="2400" dirty="0" smtClean="0">
                <a:latin typeface="Comic Sans MS"/>
              </a:rPr>
              <a:t>coś, </a:t>
            </a:r>
            <a:r>
              <a:rPr lang="pl-PL" sz="2400" dirty="0" smtClean="0">
                <a:latin typeface="Comic Sans MS"/>
              </a:rPr>
              <a:t>co chcemy żeby zrobił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Program komputerowy jest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zbiorem instrukcji mówiących komputerowi, w jaki sposób wykonać dane zadanie</a:t>
            </a:r>
            <a:r>
              <a:rPr lang="pl-PL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smtClean="0">
                <a:latin typeface="Comic Sans MS"/>
              </a:rPr>
              <a:t>Pro</a:t>
            </a:r>
            <a:r>
              <a:rPr lang="pl-PL" sz="2400" dirty="0" err="1" smtClean="0">
                <a:latin typeface="Comic Sans MS"/>
              </a:rPr>
              <a:t>gramowanie</a:t>
            </a:r>
            <a:r>
              <a:rPr lang="pl-PL" sz="2400" dirty="0" smtClean="0">
                <a:latin typeface="Comic Sans MS"/>
              </a:rPr>
              <a:t> jest jak recepta: zbiór instrukcji mówiących kucharzowi jak przyrządzić dani</a:t>
            </a:r>
            <a:r>
              <a:rPr lang="de-DE" sz="2400" dirty="0" smtClean="0">
                <a:latin typeface="Comic Sans MS"/>
              </a:rPr>
              <a:t>e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5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478040" y="465317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022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Podstawowe elementy projektu w </a:t>
            </a:r>
            <a:r>
              <a:rPr lang="pl-PL" dirty="0" err="1" smtClean="0">
                <a:solidFill>
                  <a:srgbClr val="000000"/>
                </a:solidFill>
                <a:latin typeface="Comic Sans MS"/>
              </a:rPr>
              <a:t>Scratchu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9145270" cy="11521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Projekt w </a:t>
            </a:r>
            <a:r>
              <a:rPr lang="pl-PL" sz="2400" dirty="0" err="1" smtClean="0">
                <a:latin typeface="Comic Sans MS"/>
              </a:rPr>
              <a:t>Scratchu</a:t>
            </a:r>
            <a:r>
              <a:rPr lang="pl-PL" sz="2400" dirty="0" smtClean="0">
                <a:latin typeface="Comic Sans MS"/>
              </a:rPr>
              <a:t> składa się ze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cen</a:t>
            </a:r>
            <a:r>
              <a:rPr lang="pl-PL" sz="2400" dirty="0" smtClean="0">
                <a:latin typeface="Comic Sans MS"/>
              </a:rPr>
              <a:t> 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stages</a:t>
            </a:r>
            <a:r>
              <a:rPr lang="pl-PL" sz="2400" dirty="0" smtClean="0">
                <a:latin typeface="Comic Sans MS"/>
              </a:rPr>
              <a:t>) oraz obiektów zwanych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duszk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ami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 </a:t>
            </a:r>
            <a:r>
              <a:rPr lang="pl-PL" sz="2400" dirty="0" smtClean="0">
                <a:latin typeface="Comic Sans MS"/>
              </a:rPr>
              <a:t>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sprites</a:t>
            </a:r>
            <a:r>
              <a:rPr lang="pl-PL" sz="2400" dirty="0" smtClean="0">
                <a:latin typeface="Comic Sans MS"/>
              </a:rPr>
              <a:t>).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5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142410" y="465317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125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Sceny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 i </a:t>
            </a:r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duszki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3816530" cy="172824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Scena</a:t>
            </a:r>
            <a:r>
              <a:rPr lang="pl-PL" sz="2400" dirty="0" smtClean="0">
                <a:latin typeface="Comic Sans MS"/>
              </a:rPr>
              <a:t> jest </a:t>
            </a:r>
            <a:r>
              <a:rPr lang="pl-PL" sz="2400" dirty="0" smtClean="0">
                <a:latin typeface="Comic Sans MS"/>
              </a:rPr>
              <a:t>miejscem, </a:t>
            </a:r>
            <a:r>
              <a:rPr lang="pl-PL" sz="2400" dirty="0" smtClean="0">
                <a:latin typeface="Comic Sans MS"/>
              </a:rPr>
              <a:t>gdzie odbywają się wasze animacje, gry i </a:t>
            </a:r>
            <a:r>
              <a:rPr lang="pl-PL" sz="2400" dirty="0" smtClean="0">
                <a:latin typeface="Comic Sans MS"/>
              </a:rPr>
              <a:t>historyjki.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4149100"/>
            <a:ext cx="3816530" cy="172824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Duszki</a:t>
            </a:r>
            <a:r>
              <a:rPr lang="de-DE" sz="2400" dirty="0" smtClean="0">
                <a:latin typeface="Comic Sans MS"/>
              </a:rPr>
              <a:t> </a:t>
            </a:r>
            <a:r>
              <a:rPr lang="pl-PL" sz="2400" dirty="0" smtClean="0">
                <a:latin typeface="Comic Sans MS"/>
              </a:rPr>
              <a:t>poruszają się oraz współdziałają ze sobą na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cenie</a:t>
            </a:r>
            <a:r>
              <a:rPr lang="de-DE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1" name="Picture 10"/>
          <p:cNvPicPr/>
          <p:nvPr/>
        </p:nvPicPr>
        <p:blipFill>
          <a:blip r:embed="rId6"/>
          <a:stretch>
            <a:fillRect/>
          </a:stretch>
        </p:blipFill>
        <p:spPr>
          <a:xfrm>
            <a:off x="4808980" y="1509120"/>
            <a:ext cx="4657320" cy="3885840"/>
          </a:xfrm>
          <a:prstGeom prst="rect">
            <a:avLst/>
          </a:prstGeom>
          <a:ln>
            <a:noFill/>
          </a:ln>
        </p:spPr>
      </p:pic>
      <p:sp>
        <p:nvSpPr>
          <p:cNvPr id="12" name="Line 4"/>
          <p:cNvSpPr/>
          <p:nvPr/>
        </p:nvSpPr>
        <p:spPr>
          <a:xfrm flipV="1">
            <a:off x="1208480" y="3429000"/>
            <a:ext cx="5544770" cy="792110"/>
          </a:xfrm>
          <a:prstGeom prst="line">
            <a:avLst/>
          </a:prstGeom>
          <a:ln w="36720">
            <a:solidFill>
              <a:srgbClr val="FF9900"/>
            </a:solidFill>
            <a:round/>
            <a:tailEnd type="triangle" w="med" len="med"/>
          </a:ln>
        </p:spPr>
      </p:sp>
      <p:sp>
        <p:nvSpPr>
          <p:cNvPr id="13" name="Line 5"/>
          <p:cNvSpPr/>
          <p:nvPr/>
        </p:nvSpPr>
        <p:spPr>
          <a:xfrm flipV="1">
            <a:off x="2864710" y="5085230"/>
            <a:ext cx="2232310" cy="19430"/>
          </a:xfrm>
          <a:prstGeom prst="line">
            <a:avLst/>
          </a:prstGeom>
          <a:ln w="36720">
            <a:solidFill>
              <a:srgbClr val="FF950E"/>
            </a:solidFill>
            <a:round/>
            <a:tailEnd type="triangle" w="med" len="med"/>
          </a:ln>
        </p:spPr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739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Scena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4248590" cy="37445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latin typeface="Comic Sans MS"/>
              </a:rPr>
              <a:t>Scen</a:t>
            </a:r>
            <a:r>
              <a:rPr lang="pl-PL" sz="2400" dirty="0" smtClean="0">
                <a:latin typeface="Comic Sans MS"/>
              </a:rPr>
              <a:t>ę można wyświetlić w jednym z dwóch trybów: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podglądu</a:t>
            </a:r>
            <a:r>
              <a:rPr lang="pl-PL" sz="2400" dirty="0" smtClean="0">
                <a:latin typeface="Comic Sans MS"/>
              </a:rPr>
              <a:t> lub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prezentacji</a:t>
            </a:r>
            <a:r>
              <a:rPr lang="pl-PL" sz="2400" dirty="0" smtClean="0">
                <a:latin typeface="Comic Sans MS"/>
              </a:rPr>
              <a:t>.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0" name="Picture 9"/>
          <p:cNvPicPr/>
          <p:nvPr/>
        </p:nvPicPr>
        <p:blipFill>
          <a:blip r:embed="rId6"/>
          <a:stretch>
            <a:fillRect/>
          </a:stretch>
        </p:blipFill>
        <p:spPr>
          <a:xfrm>
            <a:off x="4808980" y="1509120"/>
            <a:ext cx="4657320" cy="3885840"/>
          </a:xfrm>
          <a:prstGeom prst="rect">
            <a:avLst/>
          </a:prstGeom>
          <a:ln>
            <a:noFill/>
          </a:ln>
        </p:spPr>
      </p:pic>
      <p:sp>
        <p:nvSpPr>
          <p:cNvPr id="11" name="Rectangle 10"/>
          <p:cNvSpPr/>
          <p:nvPr/>
        </p:nvSpPr>
        <p:spPr>
          <a:xfrm>
            <a:off x="4664960" y="1484730"/>
            <a:ext cx="792110" cy="504070"/>
          </a:xfrm>
          <a:prstGeom prst="rect">
            <a:avLst/>
          </a:prstGeom>
          <a:noFill/>
          <a:ln w="603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12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920440" y="5013220"/>
            <a:ext cx="699130" cy="75445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84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Duszki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4448930" y="1340710"/>
            <a:ext cx="5256730" cy="28804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latin typeface="Comic Sans MS"/>
              </a:rPr>
              <a:t>Możemy tworzyć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nowe duszki</a:t>
            </a:r>
            <a:r>
              <a:rPr lang="pl-PL" sz="2400" dirty="0" smtClean="0">
                <a:latin typeface="Comic Sans MS"/>
              </a:rPr>
              <a:t>: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wybierając z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biblioteki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szków</a:t>
            </a:r>
            <a:endParaRPr lang="pl-PL" sz="2400" dirty="0" smtClean="0">
              <a:solidFill>
                <a:srgbClr val="FF9900"/>
              </a:solidFill>
              <a:latin typeface="Comic Sans MS"/>
            </a:endParaRP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rysując</a:t>
            </a:r>
            <a:r>
              <a:rPr lang="pl-PL" sz="2400" dirty="0" smtClean="0">
                <a:latin typeface="Comic Sans MS"/>
              </a:rPr>
              <a:t> nowego duszka</a:t>
            </a:r>
            <a:endParaRPr lang="pl-PL" sz="2400" dirty="0" smtClean="0">
              <a:latin typeface="Comic Sans MS"/>
            </a:endParaRP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wykorzystując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gotowy plik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robiąc zdjęcie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kamerką.</a:t>
            </a:r>
            <a:endParaRPr lang="de-DE" sz="2400" dirty="0" smtClean="0">
              <a:solidFill>
                <a:srgbClr val="FF9900"/>
              </a:solidFill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88420" name="Picture 4" descr="C:\Projects\robocap\scratch-labs\slideshow\images\Screenshot2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72350" y="3140960"/>
            <a:ext cx="3877216" cy="1581371"/>
          </a:xfrm>
          <a:prstGeom prst="rect">
            <a:avLst/>
          </a:prstGeom>
          <a:noFill/>
        </p:spPr>
      </p:pic>
      <p:pic>
        <p:nvPicPr>
          <p:cNvPr id="188419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072600" y="4221110"/>
            <a:ext cx="6552910" cy="1806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/>
          <p:nvPr/>
        </p:nvSpPr>
        <p:spPr>
          <a:xfrm>
            <a:off x="2288630" y="3068950"/>
            <a:ext cx="1944270" cy="504070"/>
          </a:xfrm>
          <a:prstGeom prst="rect">
            <a:avLst/>
          </a:prstGeom>
          <a:noFill/>
          <a:ln w="603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12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48430" y="1513222"/>
            <a:ext cx="699130" cy="75445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944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Informacje o duszkach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8929240" cy="100814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Dla każdego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szka</a:t>
            </a:r>
            <a:r>
              <a:rPr lang="pl-PL" sz="2400" dirty="0" smtClean="0">
                <a:latin typeface="Comic Sans MS"/>
              </a:rPr>
              <a:t> możemy podejrzeć informacje na jego temat: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położenie</a:t>
            </a:r>
            <a:r>
              <a:rPr lang="pl-PL" sz="2400" dirty="0" smtClean="0">
                <a:latin typeface="Comic Sans MS"/>
              </a:rPr>
              <a:t>,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kąt nachylenia</a:t>
            </a:r>
            <a:r>
              <a:rPr lang="pl-PL" sz="2400" dirty="0" smtClean="0">
                <a:latin typeface="Comic Sans MS"/>
              </a:rPr>
              <a:t>,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tyl obracania</a:t>
            </a:r>
            <a:r>
              <a:rPr lang="pl-PL" sz="2400" dirty="0" smtClean="0">
                <a:latin typeface="Comic Sans MS"/>
              </a:rPr>
              <a:t>…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89444" name="Picture 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856570" y="3212970"/>
            <a:ext cx="3867150" cy="229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9443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512800" y="4005080"/>
            <a:ext cx="4625350" cy="1985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/>
          <p:nvPr/>
        </p:nvSpPr>
        <p:spPr>
          <a:xfrm>
            <a:off x="5097020" y="4293120"/>
            <a:ext cx="2880400" cy="158422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216620" y="3861060"/>
            <a:ext cx="1008140" cy="28804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53</Words>
  <Application>Microsoft Office PowerPoint</Application>
  <PresentationFormat>A4 Paper (210x297 mm)</PresentationFormat>
  <Paragraphs>103</Paragraphs>
  <Slides>17</Slides>
  <Notes>16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1" baseType="lpstr">
      <vt:lpstr>Blank</vt:lpstr>
      <vt:lpstr>Closing slides</vt:lpstr>
      <vt:lpstr>Section break</vt:lpstr>
      <vt:lpstr>think-cell Slide</vt:lpstr>
      <vt:lpstr>           .</vt:lpstr>
      <vt:lpstr>Czym jest                  ?</vt:lpstr>
      <vt:lpstr>Czego uczy nas                  ?</vt:lpstr>
      <vt:lpstr>Czym jest programowanie?</vt:lpstr>
      <vt:lpstr>Podstawowe elementy projektu w Scratchu.</vt:lpstr>
      <vt:lpstr>Sceny i duszki.</vt:lpstr>
      <vt:lpstr>Scena.</vt:lpstr>
      <vt:lpstr>Duszki.</vt:lpstr>
      <vt:lpstr>Informacje o duszkach.</vt:lpstr>
      <vt:lpstr>Stroje.</vt:lpstr>
      <vt:lpstr>Stroje.</vt:lpstr>
      <vt:lpstr>Stroje.</vt:lpstr>
      <vt:lpstr>Paleta narzędzi.</vt:lpstr>
      <vt:lpstr>Paleta bloków.</vt:lpstr>
      <vt:lpstr>Jak wystartować i zatrzymać program?</vt:lpstr>
      <vt:lpstr>Slide 16</vt:lpstr>
      <vt:lpstr>Slide 17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ZPACHOLC</cp:lastModifiedBy>
  <cp:revision>71</cp:revision>
  <dcterms:created xsi:type="dcterms:W3CDTF">2014-10-21T19:55:20Z</dcterms:created>
  <dcterms:modified xsi:type="dcterms:W3CDTF">2015-01-27T11:56:13Z</dcterms:modified>
</cp:coreProperties>
</file>